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72" r:id="rId5"/>
    <p:sldId id="262" r:id="rId6"/>
    <p:sldId id="263" r:id="rId7"/>
    <p:sldId id="264" r:id="rId8"/>
    <p:sldId id="258" r:id="rId9"/>
    <p:sldId id="260" r:id="rId10"/>
    <p:sldId id="256" r:id="rId11"/>
    <p:sldId id="257" r:id="rId12"/>
    <p:sldId id="265" r:id="rId13"/>
    <p:sldId id="259" r:id="rId14"/>
    <p:sldId id="266" r:id="rId15"/>
    <p:sldId id="273" r:id="rId16"/>
    <p:sldId id="274" r:id="rId17"/>
    <p:sldId id="267" r:id="rId18"/>
    <p:sldId id="268" r:id="rId19"/>
    <p:sldId id="270" r:id="rId20"/>
    <p:sldId id="271" r:id="rId21"/>
    <p:sldId id="276" r:id="rId22"/>
    <p:sldId id="277" r:id="rId23"/>
    <p:sldId id="278" r:id="rId24"/>
    <p:sldId id="279" r:id="rId25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99" d="100"/>
          <a:sy n="99" d="100"/>
        </p:scale>
        <p:origin x="258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4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9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3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5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0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3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4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4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0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grpSp>
          <p:nvGrpSpPr>
            <p:cNvPr id="226" name="Group 225"/>
            <p:cNvGrpSpPr/>
            <p:nvPr/>
          </p:nvGrpSpPr>
          <p:grpSpPr>
            <a:xfrm>
              <a:off x="2586418" y="245096"/>
              <a:ext cx="5873122" cy="5902976"/>
              <a:chOff x="2586418" y="245096"/>
              <a:chExt cx="5873122" cy="5902976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2586418" y="678878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Initiat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2586418" y="2693475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Reserv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586418" y="470807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ptur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1" name="Straight Arrow Connector 50"/>
              <p:cNvCxnSpPr>
                <a:stCxn id="7" idx="4"/>
                <a:endCxn id="8" idx="0"/>
              </p:cNvCxnSpPr>
              <p:nvPr/>
            </p:nvCxnSpPr>
            <p:spPr>
              <a:xfrm>
                <a:off x="3306418" y="2118878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/>
              <p:cNvCxnSpPr>
                <a:stCxn id="8" idx="4"/>
                <a:endCxn id="9" idx="0"/>
              </p:cNvCxnSpPr>
              <p:nvPr/>
            </p:nvCxnSpPr>
            <p:spPr>
              <a:xfrm>
                <a:off x="3306418" y="4133475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/>
              <p:cNvCxnSpPr>
                <a:endCxn id="7" idx="0"/>
              </p:cNvCxnSpPr>
              <p:nvPr/>
            </p:nvCxnSpPr>
            <p:spPr>
              <a:xfrm>
                <a:off x="3306418" y="245096"/>
                <a:ext cx="0" cy="433782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80" name="Oval 179"/>
              <p:cNvSpPr/>
              <p:nvPr/>
            </p:nvSpPr>
            <p:spPr>
              <a:xfrm>
                <a:off x="4859540" y="1653640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MobilePay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7" name="Elbow Connector 186"/>
              <p:cNvCxnSpPr>
                <a:stCxn id="8" idx="6"/>
                <a:endCxn id="180" idx="4"/>
              </p:cNvCxnSpPr>
              <p:nvPr/>
            </p:nvCxnSpPr>
            <p:spPr>
              <a:xfrm flipV="1">
                <a:off x="4026418" y="3093640"/>
                <a:ext cx="1553122" cy="319835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99" name="Elbow Connector 198"/>
              <p:cNvCxnSpPr>
                <a:stCxn id="7" idx="6"/>
                <a:endCxn id="180" idx="0"/>
              </p:cNvCxnSpPr>
              <p:nvPr/>
            </p:nvCxnSpPr>
            <p:spPr>
              <a:xfrm>
                <a:off x="4026418" y="1398878"/>
                <a:ext cx="1553122" cy="254762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15" name="Oval 214"/>
              <p:cNvSpPr/>
              <p:nvPr/>
            </p:nvSpPr>
            <p:spPr>
              <a:xfrm>
                <a:off x="7019540" y="167530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Client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16" name="Elbow Connector 215"/>
              <p:cNvCxnSpPr>
                <a:stCxn id="7" idx="6"/>
                <a:endCxn id="215" idx="0"/>
              </p:cNvCxnSpPr>
              <p:nvPr/>
            </p:nvCxnSpPr>
            <p:spPr>
              <a:xfrm>
                <a:off x="4026418" y="1398878"/>
                <a:ext cx="3713122" cy="276424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19" name="Elbow Connector 218"/>
              <p:cNvCxnSpPr>
                <a:stCxn id="8" idx="6"/>
                <a:endCxn id="215" idx="4"/>
              </p:cNvCxnSpPr>
              <p:nvPr/>
            </p:nvCxnSpPr>
            <p:spPr>
              <a:xfrm flipV="1">
                <a:off x="4026418" y="3115302"/>
                <a:ext cx="3713122" cy="298173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sp>
          <p:nvSpPr>
            <p:cNvPr id="17" name="Oval 16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8" idx="2"/>
              <a:endCxn id="17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44158" y="631347"/>
            <a:ext cx="10549559" cy="10124264"/>
            <a:chOff x="544158" y="631347"/>
            <a:chExt cx="10549559" cy="1012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180436" y="933538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0150" y="8922274"/>
              <a:ext cx="3248562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pture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961631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9763175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32000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03947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23442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11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80436" y="1000915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60150" y="9596042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05379" y="102900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29157" y="10436943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118" y="10993769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325" y="1106853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GET</a:t>
            </a:r>
            <a:r>
              <a:rPr lang="da-DK" sz="1100" b="1" dirty="0" smtClean="0">
                <a:solidFill>
                  <a:schemeClr val="accent4"/>
                </a:solidFill>
              </a:rPr>
              <a:t> 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smtClean="0">
                <a:solidFill>
                  <a:schemeClr val="accent4"/>
                </a:solidFill>
              </a:rPr>
              <a:t>Perform 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4000308"/>
            <a:chOff x="622092" y="628717"/>
            <a:chExt cx="7247450" cy="400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1180435" y="257032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92266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71259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0600" y="2739104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4414717" y="34536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1060149" y="236887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724621" y="2885964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35396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 out, Reason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Mercha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50626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95892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681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3640308"/>
            <a:chOff x="622092" y="628717"/>
            <a:chExt cx="7247450" cy="364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60833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398271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2799" y="2438257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H="1" flipV="1">
              <a:off x="4414717" y="2167786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4689748" y="2585117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225375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191942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6446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414717" y="31107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416759" y="31967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61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729202" y="931924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868452" y="68117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6705650" y="646706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014616" y="1065939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067918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415989" y="244668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Mobilepay </a:t>
            </a:r>
            <a:r>
              <a:rPr lang="da-DK" sz="1100" b="1" dirty="0" err="1" smtClean="0">
                <a:solidFill>
                  <a:schemeClr val="accent4"/>
                </a:solidFill>
              </a:rPr>
              <a:t>button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press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295703" y="2235266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r>
              <a:rPr lang="da-DK" sz="1100" b="1" dirty="0" smtClean="0">
                <a:solidFill>
                  <a:schemeClr val="accent4"/>
                </a:solidFill>
              </a:rPr>
              <a:t>/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306212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550506" y="1751220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18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5438" y="646706"/>
            <a:ext cx="7672226" cy="2523008"/>
            <a:chOff x="745438" y="646706"/>
            <a:chExt cx="7672226" cy="25230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244668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Bluetooth signal s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2235266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51220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46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745438" y="646706"/>
            <a:ext cx="7672226" cy="3192829"/>
            <a:chOff x="745438" y="646706"/>
            <a:chExt cx="7672226" cy="319282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22849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360675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Beacon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rea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339533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0145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63353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>
              <a:off x="4405850" y="31491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258710" y="2945309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tification on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llback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UR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>
              <a:off x="1189364" y="218014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189364" y="2626385"/>
              <a:ext cx="6240486" cy="7633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2058953" y="23877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in 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002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552246" y="646706"/>
            <a:ext cx="8969910" cy="4813428"/>
            <a:chOff x="-552246" y="646706"/>
            <a:chExt cx="8969910" cy="48134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64201" y="491693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ndicatio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that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Mobilepay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oul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be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us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31925" y="470147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072" y="1761170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199525" y="673686"/>
              <a:ext cx="644960" cy="1044000"/>
            </a:xfrm>
            <a:prstGeom prst="rect">
              <a:avLst/>
            </a:prstGeom>
          </p:spPr>
        </p:pic>
        <p:cxnSp>
          <p:nvCxnSpPr>
            <p:cNvPr id="18" name="Straight Arrow Connector 17"/>
            <p:cNvCxnSpPr/>
            <p:nvPr/>
          </p:nvCxnSpPr>
          <p:spPr>
            <a:xfrm>
              <a:off x="4477892" y="29039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4368" y="26938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841156" y="2371868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</a:t>
              </a:r>
              <a:r>
                <a:rPr lang="da-DK" sz="1100" b="1" dirty="0">
                  <a:solidFill>
                    <a:schemeClr val="accent4"/>
                  </a:solidFill>
                </a:rPr>
                <a:t>=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fals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4466516" y="40253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82992" y="38152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=  tru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060314" y="176613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7572576" y="178205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316059" y="931924"/>
              <a:ext cx="648866" cy="79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-552246" y="11561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8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?merchant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=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 PoS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D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95935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845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/(capture | cancel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DELETE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3003082" y="2371868"/>
            <a:ext cx="5900286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</a:t>
            </a:r>
            <a:r>
              <a:rPr lang="da-DK" sz="1100" b="1" dirty="0" smtClean="0">
                <a:solidFill>
                  <a:schemeClr val="accent6"/>
                </a:solidFill>
              </a:rPr>
              <a:t>LOOP</a:t>
            </a:r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788200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ounded Rectangle 29"/>
          <p:cNvSpPr/>
          <p:nvPr/>
        </p:nvSpPr>
        <p:spPr>
          <a:xfrm>
            <a:off x="974350" y="3132042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246865" y="3781588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974350" y="76651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370489" y="141606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Brand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4485369" y="313238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446821" y="3781051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Store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45" name="Rounded Rectangle 44"/>
          <p:cNvSpPr/>
          <p:nvPr/>
        </p:nvSpPr>
        <p:spPr>
          <a:xfrm>
            <a:off x="974351" y="550106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503741" y="6150967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47" name="Rounded Rectangle 46"/>
          <p:cNvSpPr/>
          <p:nvPr/>
        </p:nvSpPr>
        <p:spPr>
          <a:xfrm>
            <a:off x="4485369" y="550106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5526400" y="6151305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49" name="Rounded Rectangle 48"/>
          <p:cNvSpPr/>
          <p:nvPr/>
        </p:nvSpPr>
        <p:spPr>
          <a:xfrm>
            <a:off x="4485371" y="789217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300154" y="8542419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Beac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51" name="Straight Connector 50"/>
          <p:cNvCxnSpPr>
            <a:stCxn id="47" idx="2"/>
            <a:endCxn id="49" idx="0"/>
          </p:cNvCxnSpPr>
          <p:nvPr/>
        </p:nvCxnSpPr>
        <p:spPr>
          <a:xfrm>
            <a:off x="5852157" y="7078545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>
            <a:stCxn id="45" idx="3"/>
            <a:endCxn id="47" idx="1"/>
          </p:cNvCxnSpPr>
          <p:nvPr/>
        </p:nvCxnSpPr>
        <p:spPr>
          <a:xfrm>
            <a:off x="3707926" y="6289805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47" idx="0"/>
            <a:endCxn id="34" idx="2"/>
          </p:cNvCxnSpPr>
          <p:nvPr/>
        </p:nvCxnSpPr>
        <p:spPr>
          <a:xfrm flipV="1">
            <a:off x="5852157" y="4709860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stCxn id="30" idx="3"/>
            <a:endCxn id="34" idx="1"/>
          </p:cNvCxnSpPr>
          <p:nvPr/>
        </p:nvCxnSpPr>
        <p:spPr>
          <a:xfrm>
            <a:off x="3707925" y="3920782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>
            <a:stCxn id="30" idx="0"/>
            <a:endCxn id="32" idx="2"/>
          </p:cNvCxnSpPr>
          <p:nvPr/>
        </p:nvCxnSpPr>
        <p:spPr>
          <a:xfrm flipV="1">
            <a:off x="2341138" y="2343996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50095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" name="Straight Arrow Connector 122"/>
          <p:cNvCxnSpPr/>
          <p:nvPr/>
        </p:nvCxnSpPr>
        <p:spPr>
          <a:xfrm>
            <a:off x="770489" y="1676789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11" idx="0"/>
            <a:endCxn id="49" idx="2"/>
          </p:cNvCxnSpPr>
          <p:nvPr/>
        </p:nvCxnSpPr>
        <p:spPr>
          <a:xfrm flipH="1" flipV="1">
            <a:off x="10039144" y="1820643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57" idx="3"/>
            <a:endCxn id="9" idx="1"/>
          </p:cNvCxnSpPr>
          <p:nvPr/>
        </p:nvCxnSpPr>
        <p:spPr>
          <a:xfrm flipV="1">
            <a:off x="3508663" y="3191550"/>
            <a:ext cx="1652677" cy="6119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56" idx="3"/>
            <a:endCxn id="7" idx="1"/>
          </p:cNvCxnSpPr>
          <p:nvPr/>
        </p:nvCxnSpPr>
        <p:spPr>
          <a:xfrm>
            <a:off x="3508520" y="5557076"/>
            <a:ext cx="1652820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58" idx="3"/>
            <a:endCxn id="13" idx="1"/>
          </p:cNvCxnSpPr>
          <p:nvPr/>
        </p:nvCxnSpPr>
        <p:spPr>
          <a:xfrm>
            <a:off x="3512601" y="7925760"/>
            <a:ext cx="1648740" cy="339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>
            <a:stCxn id="59" idx="3"/>
            <a:endCxn id="17" idx="1"/>
          </p:cNvCxnSpPr>
          <p:nvPr/>
        </p:nvCxnSpPr>
        <p:spPr>
          <a:xfrm>
            <a:off x="3514020" y="10317213"/>
            <a:ext cx="5158341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5161340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33855" y="5417882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161340" y="240281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57479" y="3052356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Brand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8672359" y="4768674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633811" y="5417345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Store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161341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90731" y="7787261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8672359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713390" y="7787599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8672361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487144" y="10178713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Beac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19" name="Straight Connector 18"/>
          <p:cNvCxnSpPr>
            <a:stCxn id="15" idx="2"/>
            <a:endCxn id="17" idx="0"/>
          </p:cNvCxnSpPr>
          <p:nvPr/>
        </p:nvCxnSpPr>
        <p:spPr>
          <a:xfrm>
            <a:off x="10039147" y="8714839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3" idx="3"/>
            <a:endCxn id="15" idx="1"/>
          </p:cNvCxnSpPr>
          <p:nvPr/>
        </p:nvCxnSpPr>
        <p:spPr>
          <a:xfrm>
            <a:off x="7894916" y="7926099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5" idx="0"/>
            <a:endCxn id="11" idx="2"/>
          </p:cNvCxnSpPr>
          <p:nvPr/>
        </p:nvCxnSpPr>
        <p:spPr>
          <a:xfrm flipV="1">
            <a:off x="10039147" y="6346154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7" idx="3"/>
            <a:endCxn id="11" idx="1"/>
          </p:cNvCxnSpPr>
          <p:nvPr/>
        </p:nvCxnSpPr>
        <p:spPr>
          <a:xfrm>
            <a:off x="7894915" y="5557076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7" idx="0"/>
            <a:endCxn id="9" idx="2"/>
          </p:cNvCxnSpPr>
          <p:nvPr/>
        </p:nvCxnSpPr>
        <p:spPr>
          <a:xfrm flipV="1">
            <a:off x="6528128" y="3980290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/>
          <p:cNvSpPr/>
          <p:nvPr/>
        </p:nvSpPr>
        <p:spPr>
          <a:xfrm>
            <a:off x="8672356" y="24316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068495" y="757837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 smtClean="0">
                <a:solidFill>
                  <a:schemeClr val="tx2"/>
                </a:solidFill>
              </a:rPr>
              <a:t>(VAT-</a:t>
            </a:r>
            <a:r>
              <a:rPr lang="da-DK" dirty="0" err="1" smtClean="0">
                <a:solidFill>
                  <a:schemeClr val="tx2"/>
                </a:solidFill>
              </a:rPr>
              <a:t>number</a:t>
            </a:r>
            <a:r>
              <a:rPr lang="da-DK" dirty="0" smtClean="0">
                <a:solidFill>
                  <a:schemeClr val="tx2"/>
                </a:solidFill>
              </a:rPr>
              <a:t>)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774945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775088" y="240892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779026" y="713702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780445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171227" y="3059170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490289" y="5417345"/>
            <a:ext cx="130288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Location</a:t>
            </a:r>
            <a:r>
              <a:rPr lang="da-DK" dirty="0" err="1" smtClean="0">
                <a:solidFill>
                  <a:schemeClr val="tx2"/>
                </a:solidFill>
              </a:rPr>
              <a:t>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171228" y="7787684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</a:t>
            </a:r>
            <a:r>
              <a:rPr lang="da-DK" dirty="0" err="1" smtClean="0">
                <a:solidFill>
                  <a:schemeClr val="tx2"/>
                </a:solidFill>
              </a:rPr>
              <a:t>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181455" y="1017871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Unit</a:t>
            </a:r>
            <a:r>
              <a:rPr lang="da-DK" dirty="0" err="1" smtClean="0">
                <a:solidFill>
                  <a:schemeClr val="tx2"/>
                </a:solidFill>
              </a:rPr>
              <a:t>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67" name="Straight Arrow Connector 66"/>
          <p:cNvCxnSpPr>
            <a:stCxn id="58" idx="0"/>
            <a:endCxn id="56" idx="2"/>
          </p:cNvCxnSpPr>
          <p:nvPr/>
        </p:nvCxnSpPr>
        <p:spPr>
          <a:xfrm flipH="1" flipV="1">
            <a:off x="2141733" y="6345816"/>
            <a:ext cx="4081" cy="791204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56" idx="0"/>
            <a:endCxn id="57" idx="2"/>
          </p:cNvCxnSpPr>
          <p:nvPr/>
        </p:nvCxnSpPr>
        <p:spPr>
          <a:xfrm flipV="1">
            <a:off x="2141733" y="3986409"/>
            <a:ext cx="143" cy="781927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ed Rectangle 104"/>
          <p:cNvSpPr/>
          <p:nvPr/>
        </p:nvSpPr>
        <p:spPr>
          <a:xfrm>
            <a:off x="774946" y="243163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 smtClean="0">
                <a:solidFill>
                  <a:schemeClr val="tx2"/>
                </a:solidFill>
              </a:rPr>
              <a:t>PoS API V10</a:t>
            </a:r>
            <a:endParaRPr lang="en-GB" sz="1400" dirty="0" err="1" smtClean="0">
              <a:solidFill>
                <a:schemeClr val="tx2"/>
              </a:solidFill>
            </a:endParaRPr>
          </a:p>
        </p:txBody>
      </p:sp>
      <p:sp>
        <p:nvSpPr>
          <p:cNvPr id="106" name="Rounded Rectangle 105"/>
          <p:cNvSpPr/>
          <p:nvPr/>
        </p:nvSpPr>
        <p:spPr>
          <a:xfrm>
            <a:off x="774945" y="733540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 smtClean="0">
                <a:solidFill>
                  <a:schemeClr val="tx2"/>
                </a:solidFill>
              </a:rPr>
              <a:t>PoS API V8.6</a:t>
            </a:r>
            <a:endParaRPr lang="en-GB" sz="1400" dirty="0" err="1" smtClean="0">
              <a:solidFill>
                <a:schemeClr val="tx2"/>
              </a:solidFill>
            </a:endParaRPr>
          </a:p>
        </p:txBody>
      </p:sp>
      <p:cxnSp>
        <p:nvCxnSpPr>
          <p:cNvPr id="109" name="Straight Connector 108"/>
          <p:cNvCxnSpPr/>
          <p:nvPr/>
        </p:nvCxnSpPr>
        <p:spPr>
          <a:xfrm flipV="1">
            <a:off x="770489" y="1391079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V="1">
            <a:off x="774945" y="1969143"/>
            <a:ext cx="2733574" cy="3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1512195" y="125192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Relation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1220793" y="1831281"/>
            <a:ext cx="183296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Same </a:t>
            </a:r>
            <a:r>
              <a:rPr lang="da-DK" dirty="0" err="1">
                <a:solidFill>
                  <a:schemeClr val="tx2"/>
                </a:solidFill>
              </a:rPr>
              <a:t>Meaning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19" name="Straight Connector 118"/>
          <p:cNvCxnSpPr>
            <a:stCxn id="59" idx="0"/>
            <a:endCxn id="58" idx="2"/>
          </p:cNvCxnSpPr>
          <p:nvPr/>
        </p:nvCxnSpPr>
        <p:spPr>
          <a:xfrm flipH="1" flipV="1">
            <a:off x="2145814" y="8714500"/>
            <a:ext cx="1419" cy="813973"/>
          </a:xfrm>
          <a:prstGeom prst="line">
            <a:avLst/>
          </a:prstGeom>
          <a:ln w="38100" cap="sq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1520525" y="153828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Hierarchy</a:t>
            </a:r>
            <a:endParaRPr lang="en-GB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458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13296" y="245096"/>
            <a:ext cx="8146244" cy="7917573"/>
            <a:chOff x="313296" y="245096"/>
            <a:chExt cx="8146244" cy="7917573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672266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6148072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032770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5428072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oup 67"/>
          <p:cNvGrpSpPr/>
          <p:nvPr/>
        </p:nvGrpSpPr>
        <p:grpSpPr>
          <a:xfrm>
            <a:off x="303671" y="181355"/>
            <a:ext cx="9381573" cy="10705265"/>
            <a:chOff x="303671" y="181355"/>
            <a:chExt cx="9381573" cy="10705265"/>
          </a:xfrm>
        </p:grpSpPr>
        <p:sp>
          <p:nvSpPr>
            <p:cNvPr id="7" name="Oval 6"/>
            <p:cNvSpPr/>
            <p:nvPr/>
          </p:nvSpPr>
          <p:spPr>
            <a:xfrm>
              <a:off x="2576793" y="61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85742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18135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21513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33513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13742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79679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33513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23679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44662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887202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516799"/>
              <a:ext cx="5668451" cy="463522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15202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79266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79747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19380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19861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49513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49513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79679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WithUser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br>
              <a:rPr lang="da-DK" sz="1100" b="1" dirty="0" smtClean="0">
                <a:solidFill>
                  <a:schemeClr val="accent4"/>
                </a:solidFill>
              </a:rPr>
            </a:br>
            <a:r>
              <a:rPr lang="da-DK" sz="1100" b="1" dirty="0" err="1" smtClean="0">
                <a:solidFill>
                  <a:schemeClr val="accent4"/>
                </a:solidFill>
              </a:rPr>
              <a:t>loyalt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308710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44723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10752350" y="1752982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60150" y="6669959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6304</TotalTime>
  <Words>674</Words>
  <Application>Microsoft Office PowerPoint</Application>
  <PresentationFormat>Custom</PresentationFormat>
  <Paragraphs>250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Frederik Debois Kirk</cp:lastModifiedBy>
  <cp:revision>67</cp:revision>
  <dcterms:created xsi:type="dcterms:W3CDTF">2019-10-15T10:47:01Z</dcterms:created>
  <dcterms:modified xsi:type="dcterms:W3CDTF">2019-11-18T09:23:41Z</dcterms:modified>
</cp:coreProperties>
</file>